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7" r:id="rId2"/>
    <p:sldId id="259" r:id="rId3"/>
    <p:sldId id="261" r:id="rId4"/>
    <p:sldId id="260" r:id="rId5"/>
    <p:sldId id="262" r:id="rId6"/>
    <p:sldId id="263" r:id="rId7"/>
    <p:sldId id="265" r:id="rId8"/>
    <p:sldId id="266" r:id="rId9"/>
    <p:sldId id="271" r:id="rId10"/>
    <p:sldId id="272" r:id="rId11"/>
    <p:sldId id="273" r:id="rId12"/>
    <p:sldId id="264" r:id="rId13"/>
    <p:sldId id="267" r:id="rId14"/>
    <p:sldId id="268" r:id="rId15"/>
    <p:sldId id="270" r:id="rId16"/>
    <p:sldId id="269" r:id="rId17"/>
    <p:sldId id="274" r:id="rId18"/>
    <p:sldId id="275" r:id="rId19"/>
    <p:sldId id="276" r:id="rId20"/>
    <p:sldId id="256" r:id="rId21"/>
  </p:sldIdLst>
  <p:sldSz cx="9144000" cy="6858000" type="screen4x3"/>
  <p:notesSz cx="6858000" cy="9144000"/>
  <p:custDataLst>
    <p:tags r:id="rId22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18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738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 hasCustomPrompt="1"/>
          </p:nvPr>
        </p:nvSpPr>
        <p:spPr>
          <a:xfrm>
            <a:off x="548640" y="2050472"/>
            <a:ext cx="7966710" cy="913707"/>
          </a:xfrm>
          <a:prstGeom prst="rect">
            <a:avLst/>
          </a:prstGeom>
        </p:spPr>
        <p:txBody>
          <a:bodyPr/>
          <a:lstStyle>
            <a:lvl1pPr>
              <a:defRPr sz="3100">
                <a:solidFill>
                  <a:schemeClr val="bg1"/>
                </a:solidFill>
              </a:defRPr>
            </a:lvl1pPr>
          </a:lstStyle>
          <a:p>
            <a:r>
              <a:rPr lang="hu-HU" dirty="0" smtClean="0"/>
              <a:t>TITLE OF THE PRESENTATION</a:t>
            </a:r>
            <a:endParaRPr lang="hu-HU" dirty="0"/>
          </a:p>
        </p:txBody>
      </p:sp>
      <p:sp>
        <p:nvSpPr>
          <p:cNvPr id="4" name="Szöveg helye 3"/>
          <p:cNvSpPr>
            <a:spLocks noGrp="1"/>
          </p:cNvSpPr>
          <p:nvPr>
            <p:ph type="body" sz="quarter" idx="10" hasCustomPrompt="1"/>
          </p:nvPr>
        </p:nvSpPr>
        <p:spPr>
          <a:xfrm>
            <a:off x="548641" y="2521527"/>
            <a:ext cx="7966710" cy="44233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FURTHER TEXT LINE FOR SECONDR TITLES</a:t>
            </a:r>
            <a:endParaRPr lang="hu-HU" dirty="0"/>
          </a:p>
        </p:txBody>
      </p:sp>
      <p:sp>
        <p:nvSpPr>
          <p:cNvPr id="6" name="Szöveg helye 5"/>
          <p:cNvSpPr>
            <a:spLocks noGrp="1"/>
          </p:cNvSpPr>
          <p:nvPr>
            <p:ph type="body" sz="quarter" idx="11" hasCustomPrompt="1"/>
          </p:nvPr>
        </p:nvSpPr>
        <p:spPr>
          <a:xfrm>
            <a:off x="548640" y="3429000"/>
            <a:ext cx="7177686" cy="901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Calibri bold" panose="020F0702030404030204" pitchFamily="34" charset="0"/>
              </a:defRPr>
            </a:lvl1pPr>
          </a:lstStyle>
          <a:p>
            <a:pPr lvl="0"/>
            <a:r>
              <a:rPr lang="en-US" dirty="0" smtClean="0"/>
              <a:t>Name of the Presenter</a:t>
            </a:r>
          </a:p>
        </p:txBody>
      </p:sp>
      <p:sp>
        <p:nvSpPr>
          <p:cNvPr id="8" name="Szöveg helye 7"/>
          <p:cNvSpPr>
            <a:spLocks noGrp="1"/>
          </p:cNvSpPr>
          <p:nvPr>
            <p:ph type="body" sz="quarter" idx="12" hasCustomPrompt="1"/>
          </p:nvPr>
        </p:nvSpPr>
        <p:spPr>
          <a:xfrm>
            <a:off x="548640" y="3629247"/>
            <a:ext cx="6001385" cy="4323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Title of the Presenter</a:t>
            </a:r>
          </a:p>
        </p:txBody>
      </p:sp>
      <p:sp>
        <p:nvSpPr>
          <p:cNvPr id="10" name="Szöveg helye 9"/>
          <p:cNvSpPr>
            <a:spLocks noGrp="1"/>
          </p:cNvSpPr>
          <p:nvPr>
            <p:ph type="body" sz="quarter" idx="13" hasCustomPrompt="1"/>
          </p:nvPr>
        </p:nvSpPr>
        <p:spPr>
          <a:xfrm>
            <a:off x="548640" y="3884428"/>
            <a:ext cx="4888548" cy="4462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Date – Place – Event 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262787909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0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zöveg helye 8"/>
          <p:cNvSpPr>
            <a:spLocks noGrp="1"/>
          </p:cNvSpPr>
          <p:nvPr>
            <p:ph type="body" sz="quarter" idx="10" hasCustomPrompt="1"/>
          </p:nvPr>
        </p:nvSpPr>
        <p:spPr>
          <a:xfrm>
            <a:off x="623454" y="658814"/>
            <a:ext cx="6621895" cy="4911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00">
                <a:latin typeface="+mj-lt"/>
              </a:defRPr>
            </a:lvl1pPr>
          </a:lstStyle>
          <a:p>
            <a:pPr lvl="0"/>
            <a:r>
              <a:rPr lang="hu-HU" dirty="0" smtClean="0"/>
              <a:t>TITLE OF THE SLIDE</a:t>
            </a:r>
            <a:endParaRPr lang="hu-HU" dirty="0"/>
          </a:p>
        </p:txBody>
      </p:sp>
      <p:sp>
        <p:nvSpPr>
          <p:cNvPr id="11" name="Szöveg helye 10"/>
          <p:cNvSpPr>
            <a:spLocks noGrp="1"/>
          </p:cNvSpPr>
          <p:nvPr>
            <p:ph type="body" sz="quarter" idx="11" hasCustomPrompt="1"/>
          </p:nvPr>
        </p:nvSpPr>
        <p:spPr>
          <a:xfrm>
            <a:off x="623453" y="1149928"/>
            <a:ext cx="6621895" cy="5403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lvl="0"/>
            <a:r>
              <a:rPr lang="hu-HU" dirty="0" smtClean="0"/>
              <a:t>OPTIONAL SUBTITL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0988810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82">
          <p15:clr>
            <a:srgbClr val="FBAE40"/>
          </p15:clr>
        </p15:guide>
        <p15:guide id="2" pos="43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zöveg helye 3"/>
          <p:cNvSpPr>
            <a:spLocks noGrp="1"/>
          </p:cNvSpPr>
          <p:nvPr>
            <p:ph type="body" sz="quarter" idx="10" hasCustomPrompt="1"/>
          </p:nvPr>
        </p:nvSpPr>
        <p:spPr>
          <a:xfrm>
            <a:off x="557561" y="1988127"/>
            <a:ext cx="6943377" cy="9780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THANK YOU</a:t>
            </a:r>
          </a:p>
        </p:txBody>
      </p:sp>
      <p:sp>
        <p:nvSpPr>
          <p:cNvPr id="10" name="Szöveg helye 9"/>
          <p:cNvSpPr>
            <a:spLocks noGrp="1"/>
          </p:cNvSpPr>
          <p:nvPr>
            <p:ph type="body" sz="quarter" idx="11" hasCustomPrompt="1"/>
          </p:nvPr>
        </p:nvSpPr>
        <p:spPr>
          <a:xfrm>
            <a:off x="557562" y="2403764"/>
            <a:ext cx="6667152" cy="5624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hu-HU" dirty="0" smtClean="0"/>
              <a:t>FOR YOUR ATTENTION</a:t>
            </a:r>
          </a:p>
          <a:p>
            <a:pPr lvl="0"/>
            <a:endParaRPr lang="hu-HU" dirty="0"/>
          </a:p>
        </p:txBody>
      </p:sp>
      <p:sp>
        <p:nvSpPr>
          <p:cNvPr id="12" name="Szöveg helye 11"/>
          <p:cNvSpPr>
            <a:spLocks noGrp="1"/>
          </p:cNvSpPr>
          <p:nvPr>
            <p:ph type="body" sz="quarter" idx="12" hasCustomPrompt="1"/>
          </p:nvPr>
        </p:nvSpPr>
        <p:spPr>
          <a:xfrm>
            <a:off x="557561" y="3347224"/>
            <a:ext cx="4430364" cy="26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Calibri bold" panose="020F0702030404030204" pitchFamily="34" charset="0"/>
              </a:defRPr>
            </a:lvl1pPr>
          </a:lstStyle>
          <a:p>
            <a:pPr lvl="0"/>
            <a:r>
              <a:rPr lang="hu-HU" dirty="0" smtClean="0"/>
              <a:t>MORE INFO</a:t>
            </a:r>
          </a:p>
        </p:txBody>
      </p:sp>
      <p:sp>
        <p:nvSpPr>
          <p:cNvPr id="14" name="Szöveg helye 13"/>
          <p:cNvSpPr>
            <a:spLocks noGrp="1"/>
          </p:cNvSpPr>
          <p:nvPr>
            <p:ph type="body" sz="quarter" idx="13" hasCustomPrompt="1"/>
          </p:nvPr>
        </p:nvSpPr>
        <p:spPr>
          <a:xfrm>
            <a:off x="557561" y="3553692"/>
            <a:ext cx="2593627" cy="229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Calibri bold" panose="020F0702030404030204" pitchFamily="34" charset="0"/>
              </a:defRPr>
            </a:lvl1pPr>
          </a:lstStyle>
          <a:p>
            <a:pPr lvl="0"/>
            <a:r>
              <a:rPr lang="hu-HU" dirty="0" err="1" smtClean="0"/>
              <a:t>Website</a:t>
            </a:r>
            <a:endParaRPr lang="hu-HU" dirty="0"/>
          </a:p>
        </p:txBody>
      </p:sp>
      <p:sp>
        <p:nvSpPr>
          <p:cNvPr id="16" name="Szöveg helye 15"/>
          <p:cNvSpPr>
            <a:spLocks noGrp="1"/>
          </p:cNvSpPr>
          <p:nvPr>
            <p:ph type="body" sz="quarter" idx="14" hasCustomPrompt="1"/>
          </p:nvPr>
        </p:nvSpPr>
        <p:spPr>
          <a:xfrm>
            <a:off x="557560" y="3783643"/>
            <a:ext cx="6667153" cy="2813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Name of the Presenter</a:t>
            </a:r>
          </a:p>
        </p:txBody>
      </p:sp>
      <p:sp>
        <p:nvSpPr>
          <p:cNvPr id="18" name="Szöveg helye 17"/>
          <p:cNvSpPr>
            <a:spLocks noGrp="1"/>
          </p:cNvSpPr>
          <p:nvPr>
            <p:ph type="body" sz="quarter" idx="15" hasCustomPrompt="1"/>
          </p:nvPr>
        </p:nvSpPr>
        <p:spPr>
          <a:xfrm>
            <a:off x="557559" y="3990110"/>
            <a:ext cx="7991129" cy="2813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 smtClean="0"/>
              <a:t>Title of the Presenter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084470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0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34440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00125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5" r:id="rId2"/>
    <p:sldLayoutId id="2147483678" r:id="rId3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9.jp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0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1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22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23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tags" Target="../tags/tag28.xml"/><Relationship Id="rId7" Type="http://schemas.openxmlformats.org/officeDocument/2006/relationships/image" Target="../media/image24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26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27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tags" Target="../tags/tag34.xml"/><Relationship Id="rId7" Type="http://schemas.openxmlformats.org/officeDocument/2006/relationships/image" Target="../media/image28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3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6.xml"/><Relationship Id="rId7" Type="http://schemas.openxmlformats.org/officeDocument/2006/relationships/image" Target="../media/image1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13.emf"/><Relationship Id="rId5" Type="http://schemas.openxmlformats.org/officeDocument/2006/relationships/oleObject" Target="../embeddings/oleObject3.bin"/><Relationship Id="rId10" Type="http://schemas.openxmlformats.org/officeDocument/2006/relationships/package" Target="../embeddings/Microsoft_Excel_Worksheet1.xlsx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6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7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8.JP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ím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DO WE KNOW WHO WE ARE?</a:t>
            </a:r>
            <a:endParaRPr lang="en-US" dirty="0"/>
          </a:p>
        </p:txBody>
      </p:sp>
      <p:sp>
        <p:nvSpPr>
          <p:cNvPr id="9" name="Szöveg helye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MORE THAN A RETHORICAL QUESTION...</a:t>
            </a:r>
            <a:endParaRPr lang="hu-HU" dirty="0"/>
          </a:p>
        </p:txBody>
      </p:sp>
      <p:sp>
        <p:nvSpPr>
          <p:cNvPr id="10" name="Szöveg helye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hu-HU" b="1" dirty="0" smtClean="0"/>
              <a:t>Carlo Alberto Ravazzolo</a:t>
            </a:r>
            <a:endParaRPr lang="en-US" b="1" dirty="0"/>
          </a:p>
        </p:txBody>
      </p:sp>
      <p:sp>
        <p:nvSpPr>
          <p:cNvPr id="11" name="Szöveg helye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hu-HU" dirty="0" smtClean="0">
                <a:latin typeface="Calibri"/>
                <a:cs typeface="Calibri"/>
              </a:rPr>
              <a:t>SCM M&amp;S Expert – SCM SVP Professional Assistant</a:t>
            </a:r>
            <a:endParaRPr lang="en-US" dirty="0">
              <a:latin typeface="Calibri"/>
              <a:cs typeface="Calibri"/>
            </a:endParaRPr>
          </a:p>
        </p:txBody>
      </p:sp>
      <p:sp>
        <p:nvSpPr>
          <p:cNvPr id="12" name="Szöveg helye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u-HU" dirty="0" smtClean="0"/>
              <a:t>11/03/2015</a:t>
            </a:r>
            <a:r>
              <a:rPr lang="en-US" dirty="0" smtClean="0"/>
              <a:t> </a:t>
            </a:r>
            <a:r>
              <a:rPr lang="en-US" dirty="0"/>
              <a:t>– </a:t>
            </a:r>
            <a:r>
              <a:rPr lang="hu-HU" dirty="0" smtClean="0"/>
              <a:t>Veszprém</a:t>
            </a:r>
            <a:r>
              <a:rPr lang="en-US" dirty="0" smtClean="0"/>
              <a:t> </a:t>
            </a:r>
            <a:endParaRPr lang="en-US" dirty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718848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29832" y="6116868"/>
            <a:ext cx="6621895" cy="491114"/>
          </a:xfrm>
        </p:spPr>
        <p:txBody>
          <a:bodyPr/>
          <a:lstStyle/>
          <a:p>
            <a:r>
              <a:rPr lang="hu-HU" dirty="0" smtClean="0"/>
              <a:t>IV edition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39" t="8322" r="9910"/>
          <a:stretch/>
        </p:blipFill>
        <p:spPr>
          <a:xfrm>
            <a:off x="271849" y="345989"/>
            <a:ext cx="8579878" cy="5438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73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290718" y="2698165"/>
            <a:ext cx="6621895" cy="491114"/>
          </a:xfrm>
        </p:spPr>
        <p:txBody>
          <a:bodyPr/>
          <a:lstStyle/>
          <a:p>
            <a:r>
              <a:rPr lang="hu-HU" dirty="0" smtClean="0"/>
              <a:t>But there is more about us..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75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7458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12"/>
          <a:stretch/>
        </p:blipFill>
        <p:spPr>
          <a:xfrm>
            <a:off x="205945" y="370702"/>
            <a:ext cx="8765195" cy="6230553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>
          <a:xfrm>
            <a:off x="3130376" y="2207743"/>
            <a:ext cx="609600" cy="85673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" name="Oval 8"/>
          <p:cNvSpPr/>
          <p:nvPr/>
        </p:nvSpPr>
        <p:spPr>
          <a:xfrm>
            <a:off x="4337219" y="2277765"/>
            <a:ext cx="1355123" cy="881448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36607" y="1194487"/>
            <a:ext cx="8138984" cy="676738"/>
          </a:xfrm>
        </p:spPr>
        <p:txBody>
          <a:bodyPr/>
          <a:lstStyle/>
          <a:p>
            <a:r>
              <a:rPr lang="hu-HU" sz="2400" dirty="0" smtClean="0">
                <a:solidFill>
                  <a:srgbClr val="FF0000"/>
                </a:solidFill>
              </a:rPr>
              <a:t>We feel unstoppable happines for our successes!</a:t>
            </a:r>
            <a:endParaRPr lang="en-US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83795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  <p:bldP spid="2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052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281" y="182895"/>
            <a:ext cx="8669933" cy="6502450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42826" y="1015983"/>
            <a:ext cx="3651531" cy="491114"/>
          </a:xfrm>
        </p:spPr>
        <p:txBody>
          <a:bodyPr/>
          <a:lstStyle/>
          <a:p>
            <a:r>
              <a:rPr lang="hu-HU" dirty="0" smtClean="0">
                <a:solidFill>
                  <a:srgbClr val="FFFF00"/>
                </a:solidFill>
              </a:rPr>
              <a:t>We enjoy</a:t>
            </a:r>
          </a:p>
          <a:p>
            <a:r>
              <a:rPr lang="hu-HU" dirty="0" smtClean="0">
                <a:solidFill>
                  <a:srgbClr val="FFFF00"/>
                </a:solidFill>
              </a:rPr>
              <a:t>the company</a:t>
            </a:r>
          </a:p>
          <a:p>
            <a:r>
              <a:rPr lang="hu-HU" dirty="0" smtClean="0">
                <a:solidFill>
                  <a:srgbClr val="FFFF00"/>
                </a:solidFill>
              </a:rPr>
              <a:t>of other V.I.P.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1578654" y="486035"/>
            <a:ext cx="3001584" cy="3525792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8990201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1509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851" y="194825"/>
            <a:ext cx="8550876" cy="6413157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844449" y="1866144"/>
            <a:ext cx="2819963" cy="491114"/>
          </a:xfrm>
        </p:spPr>
        <p:txBody>
          <a:bodyPr/>
          <a:lstStyle/>
          <a:p>
            <a:r>
              <a:rPr lang="hu-HU" dirty="0" smtClean="0">
                <a:solidFill>
                  <a:srgbClr val="C00000"/>
                </a:solidFill>
              </a:rPr>
              <a:t>Shocked???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112108" y="5980943"/>
            <a:ext cx="7249297" cy="491114"/>
          </a:xfrm>
        </p:spPr>
        <p:txBody>
          <a:bodyPr/>
          <a:lstStyle/>
          <a:p>
            <a:r>
              <a:rPr lang="hu-HU" dirty="0" smtClean="0">
                <a:solidFill>
                  <a:srgbClr val="C00000"/>
                </a:solidFill>
              </a:rPr>
              <a:t>And you haven’t yet seen the rest...</a:t>
            </a:r>
            <a:endParaRPr lang="en-US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2999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6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sp>
        <p:nvSpPr>
          <p:cNvPr id="5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63611" y="180096"/>
            <a:ext cx="8649730" cy="989676"/>
          </a:xfrm>
        </p:spPr>
        <p:txBody>
          <a:bodyPr/>
          <a:lstStyle/>
          <a:p>
            <a:r>
              <a:rPr lang="hu-HU" dirty="0" smtClean="0">
                <a:solidFill>
                  <a:srgbClr val="00B0F0"/>
                </a:solidFill>
              </a:rPr>
              <a:t>We develop unexpected skills...</a:t>
            </a:r>
          </a:p>
          <a:p>
            <a:pPr algn="r"/>
            <a:r>
              <a:rPr lang="hu-HU" dirty="0" smtClean="0">
                <a:solidFill>
                  <a:srgbClr val="00B0F0"/>
                </a:solidFill>
              </a:rPr>
              <a:t>Like ninja’s ones!</a:t>
            </a:r>
            <a:endParaRPr lang="en-US" dirty="0">
              <a:solidFill>
                <a:srgbClr val="00B0F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55" t="50427" r="17113" b="18196"/>
          <a:stretch/>
        </p:blipFill>
        <p:spPr>
          <a:xfrm>
            <a:off x="724931" y="1227532"/>
            <a:ext cx="7232820" cy="4212424"/>
          </a:xfrm>
          <a:prstGeom prst="rect">
            <a:avLst/>
          </a:prstGeom>
        </p:spPr>
      </p:pic>
      <p:sp>
        <p:nvSpPr>
          <p:cNvPr id="7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869092" y="5439956"/>
            <a:ext cx="7088659" cy="581903"/>
          </a:xfrm>
        </p:spPr>
        <p:txBody>
          <a:bodyPr/>
          <a:lstStyle/>
          <a:p>
            <a:r>
              <a:rPr lang="hu-HU" dirty="0" smtClean="0">
                <a:solidFill>
                  <a:srgbClr val="00B0F0"/>
                </a:solidFill>
              </a:rPr>
              <a:t>Guess who is not a girl from Oman</a:t>
            </a:r>
          </a:p>
        </p:txBody>
      </p:sp>
      <p:sp>
        <p:nvSpPr>
          <p:cNvPr id="9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059459" y="6021859"/>
            <a:ext cx="6853882" cy="594260"/>
          </a:xfrm>
        </p:spPr>
        <p:txBody>
          <a:bodyPr/>
          <a:lstStyle/>
          <a:p>
            <a:r>
              <a:rPr lang="hu-HU" sz="2400" dirty="0" smtClean="0">
                <a:solidFill>
                  <a:srgbClr val="00B0F0"/>
                </a:solidFill>
              </a:rPr>
              <a:t>(I will give you the solution later)</a:t>
            </a:r>
            <a:endParaRPr lang="en-US" sz="24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4108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00"/>
                            </p:stCondLst>
                            <p:childTnLst>
                              <p:par>
                                <p:cTn id="24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7" grpId="0" build="p"/>
      <p:bldP spid="9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037193" y="221286"/>
            <a:ext cx="6882884" cy="989676"/>
          </a:xfrm>
        </p:spPr>
        <p:txBody>
          <a:bodyPr/>
          <a:lstStyle/>
          <a:p>
            <a:r>
              <a:rPr lang="hu-HU" dirty="0" smtClean="0">
                <a:solidFill>
                  <a:srgbClr val="7030A0"/>
                </a:solidFill>
              </a:rPr>
              <a:t>We are proud supporters of Harry Potter since generations!</a:t>
            </a:r>
            <a:endParaRPr lang="en-US" dirty="0">
              <a:solidFill>
                <a:srgbClr val="7030A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468" y="1458101"/>
            <a:ext cx="4849373" cy="363702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71" t="36104" r="27568" b="10064"/>
          <a:stretch/>
        </p:blipFill>
        <p:spPr>
          <a:xfrm>
            <a:off x="4761471" y="1458101"/>
            <a:ext cx="4164399" cy="363702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561506" y="5342269"/>
            <a:ext cx="499259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4000" b="1" i="1" dirty="0">
                <a:solidFill>
                  <a:srgbClr val="7030A0"/>
                </a:solidFill>
              </a:rPr>
              <a:t>Avada </a:t>
            </a:r>
            <a:r>
              <a:rPr lang="hu-HU" sz="4000" b="1" i="1" dirty="0" smtClean="0">
                <a:solidFill>
                  <a:srgbClr val="7030A0"/>
                </a:solidFill>
              </a:rPr>
              <a:t>Kedavra!</a:t>
            </a:r>
            <a:endParaRPr lang="hu-HU" sz="4000" b="1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43091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4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5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7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9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sp>
        <p:nvSpPr>
          <p:cNvPr id="5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63611" y="180096"/>
            <a:ext cx="8649730" cy="989676"/>
          </a:xfrm>
        </p:spPr>
        <p:txBody>
          <a:bodyPr/>
          <a:lstStyle/>
          <a:p>
            <a:r>
              <a:rPr lang="hu-HU" dirty="0" smtClean="0">
                <a:solidFill>
                  <a:srgbClr val="00B050"/>
                </a:solidFill>
              </a:rPr>
              <a:t>And we like Village People!</a:t>
            </a:r>
            <a:endParaRPr lang="en-US" dirty="0">
              <a:solidFill>
                <a:srgbClr val="00B05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41" y="674934"/>
            <a:ext cx="8386118" cy="5955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307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sp>
        <p:nvSpPr>
          <p:cNvPr id="5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63611" y="180096"/>
            <a:ext cx="8649730" cy="989676"/>
          </a:xfrm>
        </p:spPr>
        <p:txBody>
          <a:bodyPr/>
          <a:lstStyle/>
          <a:p>
            <a:r>
              <a:rPr lang="hu-HU" dirty="0" smtClean="0">
                <a:solidFill>
                  <a:schemeClr val="accent3">
                    <a:lumMod val="50000"/>
                  </a:schemeClr>
                </a:solidFill>
              </a:rPr>
              <a:t>Than crisis arrived... so </a:t>
            </a:r>
            <a:r>
              <a:rPr lang="hu-HU" dirty="0" smtClean="0">
                <a:solidFill>
                  <a:schemeClr val="accent3">
                    <a:lumMod val="50000"/>
                  </a:schemeClr>
                </a:solidFill>
              </a:rPr>
              <a:t>cut expenses!</a:t>
            </a:r>
            <a:endParaRPr lang="en-US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78"/>
          <a:stretch/>
        </p:blipFill>
        <p:spPr>
          <a:xfrm>
            <a:off x="481914" y="674934"/>
            <a:ext cx="8213124" cy="5115698"/>
          </a:xfrm>
          <a:prstGeom prst="rect">
            <a:avLst/>
          </a:prstGeom>
        </p:spPr>
      </p:pic>
      <p:sp>
        <p:nvSpPr>
          <p:cNvPr id="6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390768" y="6005384"/>
            <a:ext cx="4600832" cy="774924"/>
          </a:xfrm>
        </p:spPr>
        <p:txBody>
          <a:bodyPr/>
          <a:lstStyle/>
          <a:p>
            <a:r>
              <a:rPr lang="hu-HU" dirty="0" smtClean="0">
                <a:solidFill>
                  <a:schemeClr val="accent3">
                    <a:lumMod val="50000"/>
                  </a:schemeClr>
                </a:solidFill>
              </a:rPr>
              <a:t>Like chairs...</a:t>
            </a:r>
            <a:endParaRPr lang="en-US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01737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6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4909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sp>
        <p:nvSpPr>
          <p:cNvPr id="5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63611" y="180096"/>
            <a:ext cx="8649730" cy="989676"/>
          </a:xfrm>
        </p:spPr>
        <p:txBody>
          <a:bodyPr/>
          <a:lstStyle/>
          <a:p>
            <a:r>
              <a:rPr lang="hu-HU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..that’s why we needed sponsors!</a:t>
            </a:r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69" b="16574"/>
          <a:stretch/>
        </p:blipFill>
        <p:spPr>
          <a:xfrm>
            <a:off x="263611" y="888093"/>
            <a:ext cx="5137015" cy="352041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122" t="3886" b="23257"/>
          <a:stretch/>
        </p:blipFill>
        <p:spPr>
          <a:xfrm rot="16200000">
            <a:off x="5438281" y="595807"/>
            <a:ext cx="3363256" cy="369879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0" r="17387" b="10452"/>
          <a:stretch/>
        </p:blipFill>
        <p:spPr>
          <a:xfrm>
            <a:off x="4764612" y="3438390"/>
            <a:ext cx="3921211" cy="320287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0"/>
          <a:srcRect l="19036" t="21444" r="21190" b="17454"/>
          <a:stretch/>
        </p:blipFill>
        <p:spPr>
          <a:xfrm>
            <a:off x="667265" y="4408512"/>
            <a:ext cx="3344563" cy="2279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2842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23454" y="226814"/>
            <a:ext cx="6621895" cy="491114"/>
          </a:xfrm>
        </p:spPr>
        <p:txBody>
          <a:bodyPr/>
          <a:lstStyle/>
          <a:p>
            <a:r>
              <a:rPr lang="hu-HU" dirty="0" smtClean="0"/>
              <a:t>Participan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3453" y="782728"/>
            <a:ext cx="6621895" cy="540327"/>
          </a:xfrm>
        </p:spPr>
        <p:txBody>
          <a:bodyPr/>
          <a:lstStyle/>
          <a:p>
            <a:r>
              <a:rPr lang="hu-HU" dirty="0" smtClean="0"/>
              <a:t>How many? And from where?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t="9820"/>
          <a:stretch/>
        </p:blipFill>
        <p:spPr>
          <a:xfrm>
            <a:off x="501052" y="1566634"/>
            <a:ext cx="4020547" cy="217736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t="8980"/>
          <a:stretch/>
        </p:blipFill>
        <p:spPr>
          <a:xfrm>
            <a:off x="2299493" y="4183199"/>
            <a:ext cx="4806907" cy="245822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/>
          <a:srcRect l="5993" r="16258"/>
          <a:stretch/>
        </p:blipFill>
        <p:spPr>
          <a:xfrm>
            <a:off x="5099764" y="1264234"/>
            <a:ext cx="3681891" cy="307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38370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6000">
        <p15:prstTrans prst="curtains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zöveg helye 1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THANK YOU</a:t>
            </a:r>
            <a:endParaRPr lang="hu-HU" dirty="0"/>
          </a:p>
        </p:txBody>
      </p:sp>
      <p:sp>
        <p:nvSpPr>
          <p:cNvPr id="15" name="Szöveg helye 1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FOR YOUR ATTENTION</a:t>
            </a:r>
          </a:p>
        </p:txBody>
      </p:sp>
      <p:sp>
        <p:nvSpPr>
          <p:cNvPr id="16" name="Szöveg helye 1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 dirty="0"/>
              <a:t>MORE INFO</a:t>
            </a:r>
          </a:p>
        </p:txBody>
      </p:sp>
      <p:sp>
        <p:nvSpPr>
          <p:cNvPr id="17" name="Szöveg helye 1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u-HU" b="1" dirty="0" smtClean="0"/>
              <a:t>caravazzolo@mol.hu</a:t>
            </a:r>
            <a:endParaRPr lang="hu-HU" b="1" dirty="0"/>
          </a:p>
        </p:txBody>
      </p:sp>
      <p:sp>
        <p:nvSpPr>
          <p:cNvPr id="18" name="Szöveg helye 1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hu-HU" dirty="0" smtClean="0"/>
              <a:t>Carlo Alberto Ravazzol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65277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crush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592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23454" y="226814"/>
            <a:ext cx="6621895" cy="491114"/>
          </a:xfrm>
        </p:spPr>
        <p:txBody>
          <a:bodyPr/>
          <a:lstStyle/>
          <a:p>
            <a:r>
              <a:rPr lang="hu-HU" dirty="0" smtClean="0"/>
              <a:t>Gender and ag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3453" y="782728"/>
            <a:ext cx="6621895" cy="540327"/>
          </a:xfrm>
        </p:spPr>
        <p:txBody>
          <a:bodyPr/>
          <a:lstStyle/>
          <a:p>
            <a:r>
              <a:rPr lang="hu-HU" dirty="0" smtClean="0"/>
              <a:t>Ladies and gentlemen...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95352" y="1197723"/>
            <a:ext cx="3952800" cy="265756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8"/>
          <a:srcRect t="10781"/>
          <a:stretch/>
        </p:blipFill>
        <p:spPr>
          <a:xfrm>
            <a:off x="4100000" y="4078810"/>
            <a:ext cx="4825199" cy="232335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991" y="3283200"/>
            <a:ext cx="4260885" cy="3373200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1002" y="1238962"/>
            <a:ext cx="4151063" cy="2490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22619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23454" y="226814"/>
            <a:ext cx="6621895" cy="491114"/>
          </a:xfrm>
        </p:spPr>
        <p:txBody>
          <a:bodyPr/>
          <a:lstStyle/>
          <a:p>
            <a:r>
              <a:rPr lang="hu-HU" dirty="0" smtClean="0"/>
              <a:t>Academic backgroun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3453" y="782728"/>
            <a:ext cx="6621895" cy="540327"/>
          </a:xfrm>
        </p:spPr>
        <p:txBody>
          <a:bodyPr/>
          <a:lstStyle/>
          <a:p>
            <a:r>
              <a:rPr lang="hu-HU" dirty="0" smtClean="0"/>
              <a:t>Which studies before PIMS academy?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3216" y="3808800"/>
            <a:ext cx="5284594" cy="288674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658" y="1207855"/>
            <a:ext cx="4649615" cy="3680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6250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23454" y="226814"/>
            <a:ext cx="6621895" cy="491114"/>
          </a:xfrm>
        </p:spPr>
        <p:txBody>
          <a:bodyPr/>
          <a:lstStyle/>
          <a:p>
            <a:r>
              <a:rPr lang="hu-HU" dirty="0" smtClean="0"/>
              <a:t>Current employ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3453" y="782728"/>
            <a:ext cx="6621895" cy="540327"/>
          </a:xfrm>
        </p:spPr>
        <p:txBody>
          <a:bodyPr/>
          <a:lstStyle/>
          <a:p>
            <a:r>
              <a:rPr lang="hu-HU" dirty="0" smtClean="0"/>
              <a:t>The work after PIMS Academy...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7"/>
          <a:srcRect l="9463" t="8572" r="22332" b="16856"/>
          <a:stretch/>
        </p:blipFill>
        <p:spPr>
          <a:xfrm>
            <a:off x="247134" y="1400432"/>
            <a:ext cx="3492844" cy="30232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8"/>
          <a:srcRect t="13298" r="11056"/>
          <a:stretch/>
        </p:blipFill>
        <p:spPr>
          <a:xfrm>
            <a:off x="3739978" y="2204505"/>
            <a:ext cx="5118837" cy="2383901"/>
          </a:xfrm>
          <a:prstGeom prst="rect">
            <a:avLst/>
          </a:prstGeom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22573565"/>
              </p:ext>
            </p:extLst>
          </p:nvPr>
        </p:nvGraphicFramePr>
        <p:xfrm>
          <a:off x="3028135" y="5305169"/>
          <a:ext cx="4679134" cy="9684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8" name="Worksheet" r:id="rId10" imgW="4095756" imgH="847800" progId="Excel.Sheet.12">
                  <p:embed/>
                </p:oleObj>
              </mc:Choice>
              <mc:Fallback>
                <p:oleObj name="Worksheet" r:id="rId10" imgW="4095756" imgH="84780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028135" y="5305169"/>
                        <a:ext cx="4679134" cy="9684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4354396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23454" y="226814"/>
            <a:ext cx="6621895" cy="491114"/>
          </a:xfrm>
        </p:spPr>
        <p:txBody>
          <a:bodyPr/>
          <a:lstStyle/>
          <a:p>
            <a:r>
              <a:rPr lang="hu-HU" dirty="0" smtClean="0"/>
              <a:t>What else to say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3453" y="782728"/>
            <a:ext cx="6621895" cy="540327"/>
          </a:xfrm>
        </p:spPr>
        <p:txBody>
          <a:bodyPr/>
          <a:lstStyle/>
          <a:p>
            <a:r>
              <a:rPr lang="hu-HU" dirty="0" smtClean="0"/>
              <a:t>Let’s make the pictures talk..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54187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drap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29832" y="6116868"/>
            <a:ext cx="6621895" cy="491114"/>
          </a:xfrm>
        </p:spPr>
        <p:txBody>
          <a:bodyPr/>
          <a:lstStyle/>
          <a:p>
            <a:r>
              <a:rPr lang="hu-HU" dirty="0" smtClean="0"/>
              <a:t>I edition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24"/>
          <a:stretch/>
        </p:blipFill>
        <p:spPr>
          <a:xfrm>
            <a:off x="815546" y="304799"/>
            <a:ext cx="7611763" cy="5330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35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29832" y="6116868"/>
            <a:ext cx="6621895" cy="491114"/>
          </a:xfrm>
        </p:spPr>
        <p:txBody>
          <a:bodyPr/>
          <a:lstStyle/>
          <a:p>
            <a:r>
              <a:rPr lang="hu-HU" dirty="0" smtClean="0"/>
              <a:t>II edition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89"/>
          <a:stretch/>
        </p:blipFill>
        <p:spPr>
          <a:xfrm>
            <a:off x="288585" y="444844"/>
            <a:ext cx="8563142" cy="5132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71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400">
              <a:latin typeface="Molgroup Light" pitchFamily="2" charset="-18"/>
              <a:sym typeface="Molgroup Light" pitchFamily="2" charset="-18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229832" y="6116868"/>
            <a:ext cx="6621895" cy="491114"/>
          </a:xfrm>
        </p:spPr>
        <p:txBody>
          <a:bodyPr/>
          <a:lstStyle/>
          <a:p>
            <a:r>
              <a:rPr lang="hu-HU" dirty="0" smtClean="0"/>
              <a:t>III edition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6"/>
          <a:stretch/>
        </p:blipFill>
        <p:spPr>
          <a:xfrm>
            <a:off x="214184" y="313552"/>
            <a:ext cx="8637542" cy="5063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59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Y.%m.%d.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rKfkuUWU6wph8iI.2ij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oryboard Layout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l1">
      <a:majorFont>
        <a:latin typeface="Molgroup Black"/>
        <a:ea typeface=""/>
        <a:cs typeface=""/>
      </a:majorFont>
      <a:minorFont>
        <a:latin typeface="Molgroup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85</TotalTime>
  <Words>184</Words>
  <Application>Microsoft Office PowerPoint</Application>
  <PresentationFormat>On-screen Show (4:3)</PresentationFormat>
  <Paragraphs>41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Calibri</vt:lpstr>
      <vt:lpstr>Calibri bold</vt:lpstr>
      <vt:lpstr>Molgroup Black</vt:lpstr>
      <vt:lpstr>Molgroup Light</vt:lpstr>
      <vt:lpstr>Storyboard Layouts</vt:lpstr>
      <vt:lpstr>think-cell Slide</vt:lpstr>
      <vt:lpstr>Worksheet</vt:lpstr>
      <vt:lpstr>DO WE KNOW WHO WE AR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bemutató</dc:title>
  <dc:creator>Gubinyi Gábor</dc:creator>
  <cp:lastModifiedBy>Ravazzolo Carlo Alberto (Budapest)</cp:lastModifiedBy>
  <cp:revision>81</cp:revision>
  <dcterms:created xsi:type="dcterms:W3CDTF">2015-03-02T16:19:08Z</dcterms:created>
  <dcterms:modified xsi:type="dcterms:W3CDTF">2015-03-12T12:37:04Z</dcterms:modified>
</cp:coreProperties>
</file>